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7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9/09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9/09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0001_f_acceleration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0001_acceleratio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algn="just"/>
            <a:r>
              <a:rPr lang="en-US" dirty="0"/>
              <a:t>This function calculates the maximal negative acceleration of a frontal car crash depending on the mass of the car and the force the passive safety structure provides to stop the car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F00BE97B-A948-4888-97C5-7E6A21E954B9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88000" y="2913856"/>
            <a:ext cx="3429000" cy="1400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1_accelerati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ss of the c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ximal force during the crash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num>
                        <m:den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algn="ctr"/>
                <a:endParaRPr lang="de-AT" b="0" dirty="0"/>
              </a:p>
            </p:txBody>
          </p:sp>
        </mc:Choice>
        <mc:Fallback xmlns="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</Words>
  <Application>Microsoft Office PowerPoint</Application>
  <PresentationFormat>A4-Papier (210 x 297 mm)</PresentationFormat>
  <Paragraphs>8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ambria Math</vt:lpstr>
      <vt:lpstr>Courier New</vt:lpstr>
      <vt:lpstr>Symbol</vt:lpstr>
      <vt:lpstr>Wingdings</vt:lpstr>
      <vt:lpstr>Produktentwicklung Templates</vt:lpstr>
      <vt:lpstr>M0001_acceleration</vt:lpstr>
      <vt:lpstr>M0001_acceler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23</cp:revision>
  <dcterms:created xsi:type="dcterms:W3CDTF">2020-02-28T15:45:41Z</dcterms:created>
  <dcterms:modified xsi:type="dcterms:W3CDTF">2020-09-29T06:28:39Z</dcterms:modified>
</cp:coreProperties>
</file>